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1" r:id="rId1"/>
  </p:sldMasterIdLst>
  <p:notesMasterIdLst>
    <p:notesMasterId r:id="rId18"/>
  </p:notesMasterIdLst>
  <p:handoutMasterIdLst>
    <p:handoutMasterId r:id="rId19"/>
  </p:handoutMasterIdLst>
  <p:sldIdLst>
    <p:sldId id="258" r:id="rId2"/>
    <p:sldId id="285" r:id="rId3"/>
    <p:sldId id="286" r:id="rId4"/>
    <p:sldId id="292" r:id="rId5"/>
    <p:sldId id="295" r:id="rId6"/>
    <p:sldId id="287" r:id="rId7"/>
    <p:sldId id="302" r:id="rId8"/>
    <p:sldId id="288" r:id="rId9"/>
    <p:sldId id="296" r:id="rId10"/>
    <p:sldId id="301" r:id="rId11"/>
    <p:sldId id="291" r:id="rId12"/>
    <p:sldId id="299" r:id="rId13"/>
    <p:sldId id="293" r:id="rId14"/>
    <p:sldId id="298" r:id="rId15"/>
    <p:sldId id="294" r:id="rId16"/>
    <p:sldId id="300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7">
          <p15:clr>
            <a:srgbClr val="A4A3A4"/>
          </p15:clr>
        </p15:guide>
        <p15:guide id="2" orient="horz" pos="3783">
          <p15:clr>
            <a:srgbClr val="A4A3A4"/>
          </p15:clr>
        </p15:guide>
        <p15:guide id="3" orient="horz" pos="647">
          <p15:clr>
            <a:srgbClr val="A4A3A4"/>
          </p15:clr>
        </p15:guide>
        <p15:guide id="4" orient="horz" pos="540">
          <p15:clr>
            <a:srgbClr val="A4A3A4"/>
          </p15:clr>
        </p15:guide>
        <p15:guide id="5" orient="horz" pos="353">
          <p15:clr>
            <a:srgbClr val="A4A3A4"/>
          </p15:clr>
        </p15:guide>
        <p15:guide id="6" orient="horz" pos="239">
          <p15:clr>
            <a:srgbClr val="A4A3A4"/>
          </p15:clr>
        </p15:guide>
        <p15:guide id="7" orient="horz" pos="791">
          <p15:clr>
            <a:srgbClr val="A4A3A4"/>
          </p15:clr>
        </p15:guide>
        <p15:guide id="8" pos="264">
          <p15:clr>
            <a:srgbClr val="A4A3A4"/>
          </p15:clr>
        </p15:guide>
        <p15:guide id="9" pos="5079">
          <p15:clr>
            <a:srgbClr val="A4A3A4"/>
          </p15:clr>
        </p15:guide>
        <p15:guide id="10" pos="2953">
          <p15:clr>
            <a:srgbClr val="A4A3A4"/>
          </p15:clr>
        </p15:guide>
        <p15:guide id="11" pos="2819">
          <p15:clr>
            <a:srgbClr val="A4A3A4"/>
          </p15:clr>
        </p15:guide>
        <p15:guide id="12" pos="114">
          <p15:clr>
            <a:srgbClr val="A4A3A4"/>
          </p15:clr>
        </p15:guide>
        <p15:guide id="13" pos="55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CC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44" autoAdjust="0"/>
    <p:restoredTop sz="94578" autoAdjust="0"/>
  </p:normalViewPr>
  <p:slideViewPr>
    <p:cSldViewPr snapToGrid="0" snapToObjects="1">
      <p:cViewPr varScale="1">
        <p:scale>
          <a:sx n="84" d="100"/>
          <a:sy n="84" d="100"/>
        </p:scale>
        <p:origin x="1531" y="82"/>
      </p:cViewPr>
      <p:guideLst>
        <p:guide orient="horz" pos="4067"/>
        <p:guide orient="horz" pos="3783"/>
        <p:guide orient="horz" pos="647"/>
        <p:guide orient="horz" pos="540"/>
        <p:guide orient="horz" pos="353"/>
        <p:guide orient="horz" pos="239"/>
        <p:guide orient="horz" pos="791"/>
        <p:guide pos="264"/>
        <p:guide pos="5079"/>
        <p:guide pos="2953"/>
        <p:guide pos="2819"/>
        <p:guide pos="114"/>
        <p:guide pos="55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-200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8/2018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2636F879-443D-410F-A2CF-15E984F48DC2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4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63513" indent="-163513" algn="l" defTabSz="914400" rtl="0" eaLnBrk="1" latinLnBrk="0" hangingPunct="1">
      <a:spcAft>
        <a:spcPts val="2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3538" indent="-176213" algn="l" defTabSz="914400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indent="-176213" algn="l" defTabSz="309563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b="0"/>
              <a:t>Notice </a:t>
            </a:r>
            <a:fld id="{AE19FBA5-BE7F-4824-B54D-C07EBA2A4967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ice </a:t>
            </a:r>
            <a:fld id="{AE19FBA5-BE7F-4824-B54D-C07EBA2A496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959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D-PanelTitle-GrommetsCombine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1934" y="1811863"/>
            <a:ext cx="5308866" cy="1515533"/>
          </a:xfrm>
        </p:spPr>
        <p:txBody>
          <a:bodyPr anchor="b">
            <a:noAutofit/>
          </a:bodyPr>
          <a:lstStyle>
            <a:lvl1pPr algn="ctr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1934" y="3598327"/>
            <a:ext cx="5308866" cy="1377651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65417" y="5054602"/>
            <a:ext cx="673276" cy="279400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21934" y="5054602"/>
            <a:ext cx="4064860" cy="279400"/>
          </a:xfrm>
        </p:spPr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17317" y="5054602"/>
            <a:ext cx="413483" cy="279400"/>
          </a:xfrm>
        </p:spPr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019825" y="3471329"/>
            <a:ext cx="5113083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29465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6" y="4815415"/>
            <a:ext cx="6798734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26260" y="1032933"/>
            <a:ext cx="7091482" cy="33612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6866" y="5382153"/>
            <a:ext cx="6798734" cy="49371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689820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6" y="906873"/>
            <a:ext cx="6798734" cy="309786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5" y="4275666"/>
            <a:ext cx="6798736" cy="160020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278465" y="4140199"/>
            <a:ext cx="6606425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543868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4333" y="982132"/>
            <a:ext cx="6400250" cy="2370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00200" y="3352799"/>
            <a:ext cx="5892798" cy="651933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3" y="4343400"/>
            <a:ext cx="6798738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Box 13"/>
          <p:cNvSpPr txBox="1"/>
          <p:nvPr/>
        </p:nvSpPr>
        <p:spPr>
          <a:xfrm>
            <a:off x="849969" y="905362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72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33503" y="2827870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72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278466" y="4140199"/>
            <a:ext cx="659553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929632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9" y="3308581"/>
            <a:ext cx="679872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8" y="4777381"/>
            <a:ext cx="679873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495903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416" y="982132"/>
            <a:ext cx="6325168" cy="2243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1176868" y="3639312"/>
            <a:ext cx="6798730" cy="88696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5" y="4529667"/>
            <a:ext cx="6798736" cy="134620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Box 11"/>
          <p:cNvSpPr txBox="1"/>
          <p:nvPr/>
        </p:nvSpPr>
        <p:spPr>
          <a:xfrm>
            <a:off x="878060" y="896895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649796" y="260772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278466" y="3429000"/>
            <a:ext cx="659553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8772634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5" y="982131"/>
            <a:ext cx="6798734" cy="229446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1176868" y="3566160"/>
            <a:ext cx="6798730" cy="905256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6" y="4470400"/>
            <a:ext cx="6798734" cy="1405467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278469" y="3429000"/>
            <a:ext cx="6606421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964359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6865" y="2490135"/>
            <a:ext cx="6798736" cy="3385733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1278466" y="2354670"/>
            <a:ext cx="660642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9916056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356667" y="906873"/>
            <a:ext cx="1618930" cy="496899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6867" y="906873"/>
            <a:ext cx="4915509" cy="4968993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6245512" y="906873"/>
            <a:ext cx="0" cy="4968993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60367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6389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93C95B1-3033-4119-A344-A2779716009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CC4FE2-4982-4A67-91E9-9D1728EF959C}"/>
              </a:ext>
            </a:extLst>
          </p:cNvPr>
          <p:cNvSpPr/>
          <p:nvPr userDrawn="1"/>
        </p:nvSpPr>
        <p:spPr bwMode="auto">
          <a:xfrm>
            <a:off x="1" y="1936955"/>
            <a:ext cx="9144000" cy="4921045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pt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0" y="3105712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Arial, 12 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1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703511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/>
              <a:t>Subline</a:t>
            </a:r>
            <a:r>
              <a:rPr lang="en-US" dirty="0"/>
              <a:t> in one or two lines, Arial, 20 pt</a:t>
            </a:r>
          </a:p>
        </p:txBody>
      </p:sp>
    </p:spTree>
    <p:extLst>
      <p:ext uri="{BB962C8B-B14F-4D97-AF65-F5344CB8AC3E}">
        <p14:creationId xmlns:p14="http://schemas.microsoft.com/office/powerpoint/2010/main" val="373755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29790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8CDB34-C6AC-4E57-B192-5B065B6E569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1">
            <a:extLst>
              <a:ext uri="{FF2B5EF4-FFF2-40B4-BE49-F238E27FC236}">
                <a16:creationId xmlns:a16="http://schemas.microsoft.com/office/drawing/2014/main" id="{D86AF4B7-6D4E-4A41-9029-317444182D6E}"/>
              </a:ext>
            </a:extLst>
          </p:cNvPr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10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278466" y="2354670"/>
            <a:ext cx="6595533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538133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725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4C6C8F-B351-4109-A0A1-6E4081059E1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11">
            <a:extLst>
              <a:ext uri="{FF2B5EF4-FFF2-40B4-BE49-F238E27FC236}">
                <a16:creationId xmlns:a16="http://schemas.microsoft.com/office/drawing/2014/main" id="{A8C28A83-AA03-4E16-88A1-AE5D1E7E6852}"/>
              </a:ext>
            </a:extLst>
          </p:cNvPr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4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989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35398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| Location | xx </a:t>
            </a:r>
            <a:r>
              <a:rPr lang="en-US"/>
              <a:t>Month 20xx</a:t>
            </a:r>
            <a:endParaRPr lang="en-US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0598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164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93A563-DCE2-4AD7-BED2-191DBAD3B38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11">
            <a:extLst>
              <a:ext uri="{FF2B5EF4-FFF2-40B4-BE49-F238E27FC236}">
                <a16:creationId xmlns:a16="http://schemas.microsoft.com/office/drawing/2014/main" id="{7B160888-214F-4413-9807-C38581C46926}"/>
              </a:ext>
            </a:extLst>
          </p:cNvPr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/>
              <a:t>Section #</a:t>
            </a:r>
            <a:endParaRPr lang="en-US" dirty="0"/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| Location | xx </a:t>
            </a:r>
            <a:r>
              <a:rPr lang="en-US"/>
              <a:t>Month 20xx</a:t>
            </a:r>
            <a:endParaRPr lang="en-US" dirty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398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12392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84FB20C-8EB1-4043-8AF1-A807431F810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hteck 11">
            <a:extLst>
              <a:ext uri="{FF2B5EF4-FFF2-40B4-BE49-F238E27FC236}">
                <a16:creationId xmlns:a16="http://schemas.microsoft.com/office/drawing/2014/main" id="{C5C747CA-DA62-43CF-A7DC-6D5F89A9610B}"/>
              </a:ext>
            </a:extLst>
          </p:cNvPr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100000">
                <a:srgbClr val="FFCC66"/>
              </a:gs>
              <a:gs pos="11000">
                <a:schemeClr val="bg1">
                  <a:lumMod val="78000"/>
                  <a:lumOff val="2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1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345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8465" y="1641413"/>
            <a:ext cx="6595534" cy="1822514"/>
          </a:xfrm>
        </p:spPr>
        <p:txBody>
          <a:bodyPr anchor="b">
            <a:normAutofit/>
          </a:bodyPr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8465" y="3734859"/>
            <a:ext cx="6595534" cy="1090015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278466" y="3599392"/>
            <a:ext cx="6595533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1325671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1278465" y="2356260"/>
            <a:ext cx="659553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9576" y="2487168"/>
            <a:ext cx="3337560" cy="3447288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152" y="2487168"/>
            <a:ext cx="3337560" cy="3447288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4524617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8" y="2658533"/>
            <a:ext cx="333756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6868" y="3243262"/>
            <a:ext cx="3337560" cy="270662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1832" y="2658533"/>
            <a:ext cx="333756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1832" y="3243262"/>
            <a:ext cx="3337560" cy="270662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41" name="Straight Connector 40"/>
          <p:cNvCxnSpPr/>
          <p:nvPr/>
        </p:nvCxnSpPr>
        <p:spPr>
          <a:xfrm>
            <a:off x="1278466" y="2354670"/>
            <a:ext cx="659553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511773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5" y="915337"/>
            <a:ext cx="6798735" cy="13038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1278466" y="2354670"/>
            <a:ext cx="659553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986279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953728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5" y="1388534"/>
            <a:ext cx="2536798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0062" y="982132"/>
            <a:ext cx="3855539" cy="4893735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6865" y="3031065"/>
            <a:ext cx="2536798" cy="243840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1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1278466" y="2912533"/>
            <a:ext cx="2333594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86864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5" y="1883832"/>
            <a:ext cx="3632202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069" y="1032933"/>
            <a:ext cx="2929463" cy="4792136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6865" y="3255432"/>
            <a:ext cx="3632201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5368033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D-PanelContent-GrommetsCombined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6866" y="915337"/>
            <a:ext cx="6798734" cy="13038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5" y="2490135"/>
            <a:ext cx="6798736" cy="34449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56670" y="5960533"/>
            <a:ext cx="1148283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48A87A34-81AB-432B-8DAE-1953F412C126}" type="datetimeFigureOut">
              <a:rPr lang="en-US" smtClean="0"/>
              <a:pPr/>
              <a:t>1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76865" y="5960533"/>
            <a:ext cx="5104667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pPr algn="r"/>
            <a:r>
              <a:rPr lang="de-DE"/>
              <a:t>Presentation title | Location | xx Month 20x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0091" y="5960533"/>
            <a:ext cx="39551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79B9E2B8-A205-4970-8658-BB76BCCA74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27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673" r:id="rId21"/>
    <p:sldLayoutId id="2147483688" r:id="rId22"/>
    <p:sldLayoutId id="2147483659" r:id="rId2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0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6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6.xml"/><Relationship Id="rId7" Type="http://schemas.openxmlformats.org/officeDocument/2006/relationships/image" Target="../media/image24.jp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8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27.jpg"/><Relationship Id="rId4" Type="http://schemas.openxmlformats.org/officeDocument/2006/relationships/tags" Target="../tags/tag29.xml"/><Relationship Id="rId9" Type="http://schemas.openxmlformats.org/officeDocument/2006/relationships/image" Target="../media/image6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7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4.xml"/><Relationship Id="rId7" Type="http://schemas.openxmlformats.org/officeDocument/2006/relationships/image" Target="../media/image20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D178BD-4F01-4CE9-8844-C10FC20317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63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7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5CEBE-BB57-41CD-AD57-2D36202DEA1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4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13999" y="480897"/>
            <a:ext cx="8316000" cy="1548000"/>
          </a:xfrm>
        </p:spPr>
        <p:txBody>
          <a:bodyPr/>
          <a:lstStyle/>
          <a:p>
            <a:r>
              <a:rPr lang="en-US" b="1" dirty="0"/>
              <a:t>Online payment/Credit Card Fraud Detectio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2"/>
          </p:nvPr>
        </p:nvSpPr>
        <p:spPr>
          <a:xfrm>
            <a:off x="5326602" y="3053918"/>
            <a:ext cx="3403397" cy="1161069"/>
          </a:xfrm>
        </p:spPr>
        <p:txBody>
          <a:bodyPr/>
          <a:lstStyle/>
          <a:p>
            <a:pPr indent="0">
              <a:buNone/>
            </a:pPr>
            <a:endParaRPr lang="en-US" sz="1800" b="1" dirty="0"/>
          </a:p>
          <a:p>
            <a:pPr indent="0">
              <a:buNone/>
            </a:pPr>
            <a:endParaRPr lang="en-US" sz="2000" b="1" dirty="0"/>
          </a:p>
          <a:p>
            <a:pPr indent="0">
              <a:buNone/>
            </a:pPr>
            <a:r>
              <a:rPr lang="en-US" sz="2000" b="1" dirty="0"/>
              <a:t>Deepika Jindal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449F62-204B-46B2-88D4-647C2B19C4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610606"/>
            <a:ext cx="4991192" cy="411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540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577192-5E3D-4B8D-9314-9267D6B3F7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875" y="1029810"/>
            <a:ext cx="7378249" cy="491138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A155CE8-13FF-4195-9FCF-2FC19AAA5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88777"/>
            <a:ext cx="6798734" cy="1303867"/>
          </a:xfrm>
        </p:spPr>
        <p:txBody>
          <a:bodyPr>
            <a:normAutofit/>
          </a:bodyPr>
          <a:lstStyle/>
          <a:p>
            <a:r>
              <a:rPr lang="en-US" sz="2800" b="1" dirty="0"/>
              <a:t>User Interfacing: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770980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26A3C9-ABD9-4889-8ED4-0BBEA5237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719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7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026A3C9-ABD9-4889-8ED4-0BBEA5237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9EF2C5-E687-481C-99D1-93BBA20FE57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1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0EB29AC-43E0-4214-8FDF-8603E96A3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076" y="492613"/>
            <a:ext cx="6252308" cy="667727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Results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A6CAC2-96A6-4717-B953-5C576FEBC6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4468" y="4087899"/>
            <a:ext cx="2487891" cy="16495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E25FED-5EA7-4EAF-B86F-945799B6FE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76" y="1371600"/>
            <a:ext cx="6105948" cy="3011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64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3F262-F2EA-4E18-B94D-31D499075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ing Parameter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2B24BF7-43E2-4791-8C13-4E9EFBE4B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8143648"/>
              </p:ext>
            </p:extLst>
          </p:nvPr>
        </p:nvGraphicFramePr>
        <p:xfrm>
          <a:off x="1445846" y="1218449"/>
          <a:ext cx="6252308" cy="2001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6154">
                  <a:extLst>
                    <a:ext uri="{9D8B030D-6E8A-4147-A177-3AD203B41FA5}">
                      <a16:colId xmlns:a16="http://schemas.microsoft.com/office/drawing/2014/main" val="1491545791"/>
                    </a:ext>
                  </a:extLst>
                </a:gridCol>
                <a:gridCol w="3126154">
                  <a:extLst>
                    <a:ext uri="{9D8B030D-6E8A-4147-A177-3AD203B41FA5}">
                      <a16:colId xmlns:a16="http://schemas.microsoft.com/office/drawing/2014/main" val="2313824343"/>
                    </a:ext>
                  </a:extLst>
                </a:gridCol>
              </a:tblGrid>
              <a:tr h="400302">
                <a:tc>
                  <a:txBody>
                    <a:bodyPr/>
                    <a:lstStyle/>
                    <a:p>
                      <a:r>
                        <a:rPr lang="en-US" dirty="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-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4329374"/>
                  </a:ext>
                </a:extLst>
              </a:tr>
              <a:tr h="400302">
                <a:tc>
                  <a:txBody>
                    <a:bodyPr/>
                    <a:lstStyle/>
                    <a:p>
                      <a:r>
                        <a:rPr lang="en-US" dirty="0"/>
                        <a:t>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e-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4425636"/>
                  </a:ext>
                </a:extLst>
              </a:tr>
              <a:tr h="400302">
                <a:tc>
                  <a:txBody>
                    <a:bodyPr/>
                    <a:lstStyle/>
                    <a:p>
                      <a:r>
                        <a:rPr lang="en-US" dirty="0"/>
                        <a:t>Time Of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e-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3223045"/>
                  </a:ext>
                </a:extLst>
              </a:tr>
              <a:tr h="400302">
                <a:tc>
                  <a:txBody>
                    <a:bodyPr/>
                    <a:lstStyle/>
                    <a:p>
                      <a:r>
                        <a:rPr lang="en-US" dirty="0"/>
                        <a:t>Am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e-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45599"/>
                  </a:ext>
                </a:extLst>
              </a:tr>
              <a:tr h="400302">
                <a:tc>
                  <a:txBody>
                    <a:bodyPr/>
                    <a:lstStyle/>
                    <a:p>
                      <a:r>
                        <a:rPr lang="en-US" dirty="0"/>
                        <a:t>X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e-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2051689"/>
                  </a:ext>
                </a:extLst>
              </a:tr>
            </a:tbl>
          </a:graphicData>
        </a:graphic>
      </p:graphicFrame>
      <p:sp>
        <p:nvSpPr>
          <p:cNvPr id="5" name="Title 8">
            <a:extLst>
              <a:ext uri="{FF2B5EF4-FFF2-40B4-BE49-F238E27FC236}">
                <a16:creationId xmlns:a16="http://schemas.microsoft.com/office/drawing/2014/main" id="{1D85D0F9-F2EF-421D-BC8E-0B70AA20A76C}"/>
              </a:ext>
            </a:extLst>
          </p:cNvPr>
          <p:cNvSpPr txBox="1">
            <a:spLocks/>
          </p:cNvSpPr>
          <p:nvPr/>
        </p:nvSpPr>
        <p:spPr>
          <a:xfrm>
            <a:off x="1445846" y="394937"/>
            <a:ext cx="6252308" cy="66772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b="1" dirty="0"/>
              <a:t>Significant Paramet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A5AC82-BEF6-46C6-80B4-8C1F067D3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4986" y="3375744"/>
            <a:ext cx="5314027" cy="243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979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BA6BA8F-8CF2-4605-9681-D50D262E1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46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54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BAD20E9-3D58-423F-8DF2-31B67E8195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3C170-CE8A-4AE1-948C-0E4F679BC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019" y="114828"/>
            <a:ext cx="6798734" cy="1303867"/>
          </a:xfrm>
        </p:spPr>
        <p:txBody>
          <a:bodyPr>
            <a:normAutofit/>
          </a:bodyPr>
          <a:lstStyle/>
          <a:p>
            <a:r>
              <a:rPr lang="en-US" sz="3200" b="1" dirty="0"/>
              <a:t>Our suggestions to curb the fraud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23C39DE-7014-4BB8-B9D5-50235D2922A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76600" y="2276475"/>
            <a:ext cx="5257800" cy="6492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74320" tIns="0" bIns="0" anchor="ctr"/>
          <a:lstStyle>
            <a:lvl1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1800" dirty="0"/>
              <a:t>Deploying detection model and predicted probabilities to prevent fraud</a:t>
            </a:r>
            <a:endParaRPr lang="en-US" sz="1400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905535D-526D-4F95-B32B-4B9C8673A0B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28670" y="3933031"/>
            <a:ext cx="5257800" cy="95352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74320" tIns="0" bIns="0" anchor="ctr"/>
          <a:lstStyle>
            <a:lvl1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1800" dirty="0"/>
              <a:t>Blocking the transaction and the payment method where probability of being a fraud is high(higher than 0.6)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EC96F6B9-5117-49BA-B69B-40AA922D5EB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76600" y="3103563"/>
            <a:ext cx="5257800" cy="6492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74320" tIns="0" bIns="0" anchor="ctr"/>
          <a:lstStyle>
            <a:lvl1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95363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1800" dirty="0"/>
              <a:t>Enforcing 2 step verification for suspected transactions</a:t>
            </a:r>
            <a:endParaRPr lang="en-US" sz="1400" dirty="0"/>
          </a:p>
        </p:txBody>
      </p:sp>
      <p:sp>
        <p:nvSpPr>
          <p:cNvPr id="8" name="AutoShape 9">
            <a:extLst>
              <a:ext uri="{FF2B5EF4-FFF2-40B4-BE49-F238E27FC236}">
                <a16:creationId xmlns:a16="http://schemas.microsoft.com/office/drawing/2014/main" id="{DE2277C9-15B3-4749-9E1D-DBDD71B96D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33725" y="4114800"/>
            <a:ext cx="285750" cy="285750"/>
          </a:xfrm>
          <a:prstGeom prst="roundRect">
            <a:avLst>
              <a:gd name="adj" fmla="val 16667"/>
            </a:avLst>
          </a:prstGeom>
          <a:solidFill>
            <a:srgbClr val="5F5F5F"/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 algn="ctr" eaLnBrk="1" hangingPunct="1">
              <a:buClr>
                <a:schemeClr val="tx1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sz="1200" b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AutoShape 11">
            <a:extLst>
              <a:ext uri="{FF2B5EF4-FFF2-40B4-BE49-F238E27FC236}">
                <a16:creationId xmlns:a16="http://schemas.microsoft.com/office/drawing/2014/main" id="{B2650918-CA49-432E-8DFF-822E3EB090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33725" y="2459038"/>
            <a:ext cx="285750" cy="285750"/>
          </a:xfrm>
          <a:prstGeom prst="roundRect">
            <a:avLst>
              <a:gd name="adj" fmla="val 16667"/>
            </a:avLst>
          </a:prstGeom>
          <a:solidFill>
            <a:srgbClr val="5F5F5F"/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 algn="ctr" eaLnBrk="1" hangingPunct="1">
              <a:buClr>
                <a:schemeClr val="tx1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sz="12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AutoShape 12">
            <a:extLst>
              <a:ext uri="{FF2B5EF4-FFF2-40B4-BE49-F238E27FC236}">
                <a16:creationId xmlns:a16="http://schemas.microsoft.com/office/drawing/2014/main" id="{85001047-4AAC-45A4-BBA2-32E2CF66F4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33725" y="3286125"/>
            <a:ext cx="285750" cy="285750"/>
          </a:xfrm>
          <a:prstGeom prst="roundRect">
            <a:avLst>
              <a:gd name="adj" fmla="val 16667"/>
            </a:avLst>
          </a:prstGeom>
          <a:solidFill>
            <a:srgbClr val="5F5F5F"/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 algn="ctr" eaLnBrk="1" hangingPunct="1">
              <a:buClr>
                <a:schemeClr val="tx1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sz="1200" b="1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5FF777-4504-4F97-91F4-19CF2FA8C1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-669615" y="2614407"/>
            <a:ext cx="4878453" cy="178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6577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85F5F-E70A-480D-A15E-2A13E7F28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157237"/>
            <a:ext cx="6798734" cy="1040098"/>
          </a:xfrm>
        </p:spPr>
        <p:txBody>
          <a:bodyPr/>
          <a:lstStyle/>
          <a:p>
            <a:r>
              <a:rPr lang="en-US" b="1" dirty="0"/>
              <a:t>Way Forward: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D2898AA-2573-4697-8D7B-3D4178AA909B}"/>
              </a:ext>
            </a:extLst>
          </p:cNvPr>
          <p:cNvSpPr txBox="1">
            <a:spLocks/>
          </p:cNvSpPr>
          <p:nvPr/>
        </p:nvSpPr>
        <p:spPr>
          <a:xfrm>
            <a:off x="3906175" y="1491449"/>
            <a:ext cx="4384788" cy="397719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en-US" sz="2200" b="1" u="sng" dirty="0"/>
              <a:t>Plans:</a:t>
            </a:r>
          </a:p>
          <a:p>
            <a:pPr marL="742950" indent="-742950" algn="l">
              <a:buAutoNum type="arabicPeriod"/>
            </a:pPr>
            <a:r>
              <a:rPr lang="en-US" sz="2200" dirty="0"/>
              <a:t>To include more parameters in banking to make the model more robust.</a:t>
            </a:r>
          </a:p>
          <a:p>
            <a:pPr marL="742950" indent="-742950" algn="l">
              <a:buAutoNum type="arabicPeriod"/>
            </a:pPr>
            <a:r>
              <a:rPr lang="en-US" sz="2200" dirty="0"/>
              <a:t>To prepare the model to tackle new types of frauds using Reinforced learning.</a:t>
            </a:r>
          </a:p>
          <a:p>
            <a:pPr marL="742950" indent="-742950" algn="l">
              <a:buAutoNum type="arabicPeriod"/>
            </a:pPr>
            <a:r>
              <a:rPr lang="en-US" sz="2200" dirty="0"/>
              <a:t>To track real-time bank transactions using the </a:t>
            </a:r>
            <a:r>
              <a:rPr lang="en-US" sz="2200" i="1" dirty="0"/>
              <a:t>Fraud Alert</a:t>
            </a:r>
            <a:r>
              <a:rPr lang="en-US" sz="2200" dirty="0"/>
              <a:t> app.</a:t>
            </a:r>
          </a:p>
          <a:p>
            <a:pPr marL="742950" indent="-742950" algn="l">
              <a:buAutoNum type="arabicPeriod"/>
            </a:pPr>
            <a:r>
              <a:rPr lang="en-US" sz="2200" dirty="0"/>
              <a:t>Program the model to look more closely on large transa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CC557B-F1B8-43CF-81A7-DEF248153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283" y="1868548"/>
            <a:ext cx="3037642" cy="310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088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49DD27-05B9-40EB-861C-F7C88708EDAF}"/>
              </a:ext>
            </a:extLst>
          </p:cNvPr>
          <p:cNvSpPr txBox="1"/>
          <p:nvPr/>
        </p:nvSpPr>
        <p:spPr>
          <a:xfrm>
            <a:off x="1312034" y="299503"/>
            <a:ext cx="6519931" cy="716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n-US" sz="4400" b="1" dirty="0">
                <a:latin typeface="+mj-lt"/>
              </a:rPr>
              <a:t>Questions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E37BFE-D8B5-4A8C-ADDD-ECAD11DEC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938" y="1104715"/>
            <a:ext cx="8264123" cy="4648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0900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5C972C-A142-4DF1-885C-685628E56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79" y="1461912"/>
            <a:ext cx="8430613" cy="41975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0521BF-1D21-496F-8787-2898E5CF0A2D}"/>
              </a:ext>
            </a:extLst>
          </p:cNvPr>
          <p:cNvSpPr/>
          <p:nvPr/>
        </p:nvSpPr>
        <p:spPr>
          <a:xfrm>
            <a:off x="1007615" y="447868"/>
            <a:ext cx="71287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/>
              <a:t>Thank You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0112060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D532E3-AA28-4459-8310-E8D10FD518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42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D532E3-AA28-4459-8310-E8D10FD51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CCA6569-E8B4-41EE-9CCE-FEFD23A7AEF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20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AF203BA-5B65-4AA6-B6FA-D03816206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408373"/>
            <a:ext cx="6798734" cy="594590"/>
          </a:xfrm>
        </p:spPr>
        <p:txBody>
          <a:bodyPr>
            <a:normAutofit fontScale="90000"/>
          </a:bodyPr>
          <a:lstStyle/>
          <a:p>
            <a:r>
              <a:rPr lang="en-US" sz="2400" b="1" dirty="0"/>
              <a:t>Fraud Victims and Losses Continue Three-Year Ri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E9A7CC-BBE3-4D5A-8142-5CCF56C232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9930" y="1091417"/>
            <a:ext cx="8304140" cy="467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86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82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74" name="think-cell Slide" r:id="rId6" imgW="363" imgH="363" progId="TCLayout.ActiveDocument.1">
                  <p:embed/>
                </p:oleObj>
              </mc:Choice>
              <mc:Fallback>
                <p:oleObj name="think-cell Slide" r:id="rId6" imgW="363" imgH="363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hangingPunct="0">
              <a:spcBef>
                <a:spcPct val="0"/>
              </a:spcBef>
              <a:spcAft>
                <a:spcPct val="0"/>
              </a:spcAft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96163" y="64271"/>
            <a:ext cx="7351673" cy="1303867"/>
          </a:xfrm>
        </p:spPr>
        <p:txBody>
          <a:bodyPr anchor="ctr">
            <a:normAutofit/>
          </a:bodyPr>
          <a:lstStyle/>
          <a:p>
            <a:pPr defTabSz="995363" eaLnBrk="0" fontAlgn="base" hangingPunct="0">
              <a:spcAft>
                <a:spcPct val="0"/>
              </a:spcAft>
            </a:pPr>
            <a:r>
              <a:rPr lang="en-US" sz="3200" b="1" dirty="0"/>
              <a:t>Why is it urgent to work on this now?</a:t>
            </a:r>
            <a:endParaRPr lang="en-US" sz="1400" b="1" dirty="0"/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00DAD10F-2965-4633-957F-69EEA11471EA}"/>
              </a:ext>
            </a:extLst>
          </p:cNvPr>
          <p:cNvSpPr txBox="1">
            <a:spLocks/>
          </p:cNvSpPr>
          <p:nvPr/>
        </p:nvSpPr>
        <p:spPr>
          <a:xfrm>
            <a:off x="886718" y="1382820"/>
            <a:ext cx="2717809" cy="349430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 cap="none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Digitalization in the financial sector has made it more vulnerable towards frau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Increase in dependence of mobile and online transa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Amount of Literature</a:t>
            </a:r>
          </a:p>
          <a:p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441798-78BA-499F-8B7C-79654A18B7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1287" y="1627200"/>
            <a:ext cx="4437583" cy="4104764"/>
          </a:xfrm>
          <a:prstGeom prst="rect">
            <a:avLst/>
          </a:prstGeom>
        </p:spPr>
      </p:pic>
      <p:sp>
        <p:nvSpPr>
          <p:cNvPr id="3" name="Right Triangle 2">
            <a:extLst>
              <a:ext uri="{FF2B5EF4-FFF2-40B4-BE49-F238E27FC236}">
                <a16:creationId xmlns:a16="http://schemas.microsoft.com/office/drawing/2014/main" id="{8195E34A-A0FC-4AB2-B613-2FE8FCC6B19D}"/>
              </a:ext>
            </a:extLst>
          </p:cNvPr>
          <p:cNvSpPr/>
          <p:nvPr/>
        </p:nvSpPr>
        <p:spPr>
          <a:xfrm rot="10800000">
            <a:off x="4286085" y="2145323"/>
            <a:ext cx="3687308" cy="2769577"/>
          </a:xfrm>
          <a:prstGeom prst="rt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F68E72-ED2A-4300-AB32-9DA80C0F51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8954" y="4004083"/>
            <a:ext cx="2433337" cy="243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493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F3ADF1-EA0A-49E8-B7A5-B3C9C9173A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0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1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81AC12-C884-4AC4-8C91-0A07B8AEA99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8DA38C-9739-41DB-AAE0-C5D63E94B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746" y="254421"/>
            <a:ext cx="6798734" cy="916690"/>
          </a:xfrm>
        </p:spPr>
        <p:txBody>
          <a:bodyPr>
            <a:normAutofit/>
          </a:bodyPr>
          <a:lstStyle/>
          <a:p>
            <a:r>
              <a:rPr lang="en-US" sz="3200" b="1" dirty="0"/>
              <a:t>Exploring the Data Variab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31D51F-E60D-4A96-80A8-0457C41627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786" y="1905948"/>
            <a:ext cx="3468966" cy="280504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63318C-1C50-45BF-96F0-F26E557402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44016" y="1905947"/>
            <a:ext cx="4012476" cy="280504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A574BD7-D43D-4F3C-87D5-D01B4FC75EC2}"/>
              </a:ext>
            </a:extLst>
          </p:cNvPr>
          <p:cNvSpPr txBox="1"/>
          <p:nvPr/>
        </p:nvSpPr>
        <p:spPr>
          <a:xfrm>
            <a:off x="688786" y="4928415"/>
            <a:ext cx="5987222" cy="83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400" b="1" dirty="0"/>
              <a:t>Observations: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On average transfer, online transfers are higher value transactions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 order of fraud transactions is higher than the order of non-fraud transac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F7AB46-52A4-4DB9-A928-7B5B619AAA87}"/>
              </a:ext>
            </a:extLst>
          </p:cNvPr>
          <p:cNvSpPr txBox="1"/>
          <p:nvPr/>
        </p:nvSpPr>
        <p:spPr>
          <a:xfrm>
            <a:off x="693071" y="1455027"/>
            <a:ext cx="3350362" cy="228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400" b="1" dirty="0"/>
              <a:t>Types of transactions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482E6BB-4B78-4636-A2AD-9FF54F0AD534}"/>
              </a:ext>
            </a:extLst>
          </p:cNvPr>
          <p:cNvSpPr txBox="1"/>
          <p:nvPr/>
        </p:nvSpPr>
        <p:spPr>
          <a:xfrm>
            <a:off x="4344016" y="1460381"/>
            <a:ext cx="3524057" cy="465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400" b="1" dirty="0"/>
              <a:t>Distribution of average amount of fraud and non-fraud transaction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B5B7B6-75BD-429A-9D9C-8B8F9660B3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6008" y="4752541"/>
            <a:ext cx="2043343" cy="1151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61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1CC7C-49B0-4830-AFF1-4613931345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1892" y="41630"/>
            <a:ext cx="6798734" cy="1303867"/>
          </a:xfrm>
        </p:spPr>
        <p:txBody>
          <a:bodyPr>
            <a:normAutofit/>
          </a:bodyPr>
          <a:lstStyle/>
          <a:p>
            <a:r>
              <a:rPr lang="en-US" sz="2800" b="1" dirty="0"/>
              <a:t>Variation of Financial Fraud with Ti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D358D-6D6F-4976-ADD9-B3F9A445D05A}"/>
              </a:ext>
            </a:extLst>
          </p:cNvPr>
          <p:cNvSpPr txBox="1"/>
          <p:nvPr/>
        </p:nvSpPr>
        <p:spPr>
          <a:xfrm>
            <a:off x="5912528" y="2594119"/>
            <a:ext cx="2525314" cy="25569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b="1" dirty="0"/>
              <a:t>Observations:</a:t>
            </a:r>
            <a:endParaRPr lang="en-US" sz="1400" b="1" dirty="0"/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Number of frauds are constant throughout the day and time range.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Normal transactions are more during the day, hence, the average fraud transactions are high at the closing times of banks and during out of office hour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FEB543F-8118-49A0-8222-850A8CFBD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2528" y="1027871"/>
            <a:ext cx="2346157" cy="13197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8F07E4-BCE9-40C5-AAC1-94DBF6459B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687" y="1027871"/>
            <a:ext cx="5151572" cy="35521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03B8CB-145C-4D30-B113-E6F9A7268F98}"/>
              </a:ext>
            </a:extLst>
          </p:cNvPr>
          <p:cNvSpPr txBox="1"/>
          <p:nvPr/>
        </p:nvSpPr>
        <p:spPr>
          <a:xfrm>
            <a:off x="706158" y="4735923"/>
            <a:ext cx="4579398" cy="83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400" b="1" dirty="0"/>
              <a:t>The graphs above show the trend of frauds averaged over:</a:t>
            </a:r>
          </a:p>
          <a:p>
            <a:pPr marL="228600" indent="-228600">
              <a:lnSpc>
                <a:spcPct val="110000"/>
              </a:lnSpc>
              <a:spcAft>
                <a:spcPts val="500"/>
              </a:spcAft>
              <a:buAutoNum type="arabicPeriod"/>
            </a:pPr>
            <a:r>
              <a:rPr lang="en-US" sz="1400" b="1" dirty="0"/>
              <a:t>A Day</a:t>
            </a:r>
          </a:p>
          <a:p>
            <a:pPr marL="228600" indent="-228600">
              <a:lnSpc>
                <a:spcPct val="110000"/>
              </a:lnSpc>
              <a:spcAft>
                <a:spcPts val="500"/>
              </a:spcAft>
              <a:buAutoNum type="arabicPeriod"/>
            </a:pPr>
            <a:r>
              <a:rPr lang="en-US" sz="1400" b="1" dirty="0"/>
              <a:t>24 Hours in a Day</a:t>
            </a:r>
          </a:p>
        </p:txBody>
      </p:sp>
    </p:spTree>
    <p:extLst>
      <p:ext uri="{BB962C8B-B14F-4D97-AF65-F5344CB8AC3E}">
        <p14:creationId xmlns:p14="http://schemas.microsoft.com/office/powerpoint/2010/main" val="1144204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7F89E-37DC-421D-836B-BDA738B632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7F89E-37DC-421D-836B-BDA738B63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2491CA-D762-4A5D-936E-A0F2E494359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519010-9C5A-43E9-A630-C1541319C9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37639"/>
            <a:ext cx="6798734" cy="1303867"/>
          </a:xfrm>
        </p:spPr>
        <p:txBody>
          <a:bodyPr anchor="ctr">
            <a:normAutofit/>
          </a:bodyPr>
          <a:lstStyle/>
          <a:p>
            <a:r>
              <a:rPr lang="en-US" sz="2800" b="1" dirty="0"/>
              <a:t>Some Statistics of Fraudulent Transac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C9E135-0527-4226-94E0-85B2150C3944}"/>
              </a:ext>
            </a:extLst>
          </p:cNvPr>
          <p:cNvSpPr txBox="1"/>
          <p:nvPr/>
        </p:nvSpPr>
        <p:spPr>
          <a:xfrm>
            <a:off x="941538" y="1341506"/>
            <a:ext cx="7589901" cy="15341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1.2 out of a thousand transactions are fraudulent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.2% of total transaction amount is Fraud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Only 2 types of transactions, i.e., online transfers and cash outs are frauds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US" sz="1400" dirty="0"/>
              <a:t> 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4DF790-2C5C-4D81-8C97-60F88A3BBA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8948" y="2370338"/>
            <a:ext cx="5826103" cy="349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964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05497-A0E6-4848-B387-A0A999C0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400433"/>
            <a:ext cx="6798734" cy="664888"/>
          </a:xfrm>
        </p:spPr>
        <p:txBody>
          <a:bodyPr/>
          <a:lstStyle/>
          <a:p>
            <a:r>
              <a:rPr lang="en-US" sz="3200" b="1" dirty="0"/>
              <a:t>The Current Scenario:</a:t>
            </a:r>
            <a:endParaRPr lang="en-US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F10E71-4CCD-4669-BDA7-31C85696D5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82" y="2560141"/>
            <a:ext cx="4991100" cy="340042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3233453-6FA3-484E-B5E5-3ED16B4D7378}"/>
              </a:ext>
            </a:extLst>
          </p:cNvPr>
          <p:cNvSpPr txBox="1">
            <a:spLocks/>
          </p:cNvSpPr>
          <p:nvPr/>
        </p:nvSpPr>
        <p:spPr>
          <a:xfrm>
            <a:off x="5513958" y="1034708"/>
            <a:ext cx="3186160" cy="454046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en-US" sz="1800" b="1" dirty="0">
                <a:latin typeface="+mn-lt"/>
              </a:rPr>
              <a:t>The two affected areas of fraud ar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1" dirty="0">
                <a:latin typeface="+mn-lt"/>
              </a:rPr>
              <a:t>Cash-Ou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1" dirty="0">
                <a:latin typeface="+mn-lt"/>
              </a:rPr>
              <a:t>Transfer</a:t>
            </a:r>
          </a:p>
          <a:p>
            <a:pPr algn="l"/>
            <a:endParaRPr lang="en-US" sz="1800" dirty="0">
              <a:latin typeface="+mn-lt"/>
            </a:endParaRPr>
          </a:p>
          <a:p>
            <a:pPr algn="l"/>
            <a:endParaRPr lang="en-US" sz="1800" dirty="0">
              <a:latin typeface="+mn-lt"/>
            </a:endParaRPr>
          </a:p>
          <a:p>
            <a:pPr algn="l"/>
            <a:r>
              <a:rPr lang="en-US" sz="1800" b="1" dirty="0">
                <a:latin typeface="+mn-lt"/>
              </a:rPr>
              <a:t>Transfer</a:t>
            </a:r>
            <a:r>
              <a:rPr lang="en-US" sz="1800" dirty="0">
                <a:latin typeface="+mn-lt"/>
              </a:rPr>
              <a:t> refers to Electronic (Mobile and Card) Payments.</a:t>
            </a:r>
          </a:p>
          <a:p>
            <a:pPr algn="l"/>
            <a:r>
              <a:rPr lang="en-US" sz="1800" b="1" dirty="0">
                <a:latin typeface="+mn-lt"/>
              </a:rPr>
              <a:t>Only 16 out of 4097 </a:t>
            </a:r>
            <a:r>
              <a:rPr lang="en-US" sz="1800" dirty="0">
                <a:latin typeface="+mn-lt"/>
              </a:rPr>
              <a:t>fraudulent transactions were correctly identifi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7FC156-6188-44ED-891F-24D4D16B9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882" y="1085418"/>
            <a:ext cx="4991100" cy="145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79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26A3C9-ABD9-4889-8ED4-0BBEA5237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385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3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9EF2C5-E687-481C-99D1-93BBA20FE57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1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55FB0B-7D39-4C18-8F42-0CA95085A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982" y="299422"/>
            <a:ext cx="6798734" cy="922703"/>
          </a:xfrm>
        </p:spPr>
        <p:txBody>
          <a:bodyPr anchor="ctr"/>
          <a:lstStyle/>
          <a:p>
            <a:r>
              <a:rPr lang="en-US" b="1" dirty="0"/>
              <a:t>Steps in the process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742D46-4ABB-4391-8831-D163605EDADB}"/>
              </a:ext>
            </a:extLst>
          </p:cNvPr>
          <p:cNvSpPr/>
          <p:nvPr/>
        </p:nvSpPr>
        <p:spPr bwMode="auto">
          <a:xfrm>
            <a:off x="475488" y="1923898"/>
            <a:ext cx="3006547" cy="201899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1DF7EA-388B-436B-9F91-E183092ADF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8217" y="4218111"/>
            <a:ext cx="3045041" cy="17128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067F304-7B41-448E-8769-1EE9BD853D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488" y="1403766"/>
            <a:ext cx="8300420" cy="3059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33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20895-3813-4382-B232-C33A66033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633" y="99016"/>
            <a:ext cx="6798734" cy="1303867"/>
          </a:xfrm>
        </p:spPr>
        <p:txBody>
          <a:bodyPr>
            <a:normAutofit/>
          </a:bodyPr>
          <a:lstStyle/>
          <a:p>
            <a:r>
              <a:rPr lang="en-US" sz="3200" b="1" dirty="0"/>
              <a:t>Modeling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32ECDD-3D49-4B63-847D-43F0123C60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14337" y="1207027"/>
            <a:ext cx="8315325" cy="4501315"/>
          </a:xfrm>
        </p:spPr>
        <p:txBody>
          <a:bodyPr>
            <a:normAutofit fontScale="77500" lnSpcReduction="20000"/>
          </a:bodyPr>
          <a:lstStyle/>
          <a:p>
            <a:r>
              <a:rPr lang="en-US" b="1" dirty="0"/>
              <a:t>To predict whether a transaction is a Fraud or not is a Classification problem:</a:t>
            </a:r>
            <a:r>
              <a:rPr lang="en-US" dirty="0"/>
              <a:t> </a:t>
            </a:r>
          </a:p>
          <a:p>
            <a:pPr lvl="1"/>
            <a:r>
              <a:rPr lang="en-US" b="1" dirty="0"/>
              <a:t>Results: </a:t>
            </a:r>
          </a:p>
          <a:p>
            <a:pPr lvl="2"/>
            <a:r>
              <a:rPr lang="en-US" dirty="0"/>
              <a:t>Is fraud</a:t>
            </a:r>
          </a:p>
          <a:p>
            <a:pPr lvl="2"/>
            <a:r>
              <a:rPr lang="en-US" dirty="0"/>
              <a:t>Is not Fraud</a:t>
            </a:r>
          </a:p>
          <a:p>
            <a:r>
              <a:rPr lang="en-US" b="1" dirty="0"/>
              <a:t>We use the following types of sampling </a:t>
            </a:r>
          </a:p>
          <a:p>
            <a:pPr marL="0" indent="0">
              <a:buNone/>
            </a:pPr>
            <a:r>
              <a:rPr lang="en-US" b="1" dirty="0"/>
              <a:t>     to balance the data:</a:t>
            </a:r>
          </a:p>
          <a:p>
            <a:pPr lvl="1"/>
            <a:r>
              <a:rPr lang="en-US" b="1" dirty="0"/>
              <a:t>Unbalanced Data:</a:t>
            </a:r>
          </a:p>
          <a:p>
            <a:pPr lvl="2"/>
            <a:r>
              <a:rPr lang="en-US" dirty="0"/>
              <a:t>Up-Sampling</a:t>
            </a:r>
          </a:p>
          <a:p>
            <a:pPr lvl="2"/>
            <a:r>
              <a:rPr lang="en-US" dirty="0"/>
              <a:t>Down-Sampling</a:t>
            </a:r>
          </a:p>
          <a:p>
            <a:pPr lvl="1"/>
            <a:r>
              <a:rPr lang="en-US" b="1" dirty="0"/>
              <a:t>Models used:</a:t>
            </a:r>
          </a:p>
          <a:p>
            <a:pPr lvl="2"/>
            <a:r>
              <a:rPr lang="en-US" dirty="0"/>
              <a:t>Random Forest</a:t>
            </a:r>
          </a:p>
          <a:p>
            <a:pPr lvl="2"/>
            <a:r>
              <a:rPr lang="en-US" dirty="0"/>
              <a:t>XGBOOST</a:t>
            </a:r>
          </a:p>
          <a:p>
            <a:pPr lvl="2"/>
            <a:r>
              <a:rPr lang="en-US" dirty="0"/>
              <a:t>Logistic Regression</a:t>
            </a:r>
          </a:p>
          <a:p>
            <a:pPr lvl="4" indent="0">
              <a:buNone/>
            </a:pPr>
            <a:endParaRPr lang="en-US" dirty="0"/>
          </a:p>
          <a:p>
            <a:pPr lvl="4" indent="0">
              <a:buNone/>
            </a:pPr>
            <a:endParaRPr lang="en-US" dirty="0"/>
          </a:p>
          <a:p>
            <a:pPr lvl="4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DC3748-F8FC-472B-9CA8-E6FDA82782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8167" y="1748906"/>
            <a:ext cx="3386947" cy="362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879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12949000000000010502E+00&quot;&gt;&lt;m_msothmcolidx val=&quot;0&quot;/&gt;&lt;m_rgb r=&quot;E3&quot; g=&quot;FB&quot; b=&quot;D9&quot;/&gt;&lt;m_nBrightness tagver0=&quot;26206&quot; tagname0=&quot;m_nBrightnessUNRECOGNIZED&quot; val=&quot;0&quot;/&gt;&lt;/elem&gt;&lt;elem m_fUsage=&quot;1.53144100000000005224E+00&quot;&gt;&lt;m_msothmcolidx val=&quot;0&quot;/&gt;&lt;m_rgb r=&quot;1C&quot; g=&quot;21&quot; b=&quot;FF&quot;/&gt;&lt;m_nBrightness tagver0=&quot;26206&quot; tagname0=&quot;m_nBrightnessUNRECOGNIZED&quot; val=&quot;0&quot;/&gt;&lt;/elem&gt;&lt;elem m_fUsage=&quot;9.00000000000000022204E-01&quot;&gt;&lt;m_msothmcolidx val=&quot;0&quot;/&gt;&lt;m_rgb r=&quot;D6&quot; g=&quot;DB&quot; b=&quot;FE&quot;/&gt;&lt;m_nBrightness tagver0=&quot;26206&quot; tagname0=&quot;m_nBrightnessUNRECOGNIZED&quot; val=&quot;0&quot;/&gt;&lt;/elem&gt;&lt;elem m_fUsage=&quot;6.56100000000000127542E-01&quot;&gt;&lt;m_msothmcolidx val=&quot;0&quot;/&gt;&lt;m_rgb r=&quot;9F&quot; g=&quot;4B&quot; b=&quot;40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rGuCffQ.Wn89mkV_pn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5OlP9MRz63nNOtTuAn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653me9SXyj2UkXktwz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B5oAPRd.YZcuc9Vlc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CPNzAupUyhAEhas7kc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r8eodwTiy5VcNtiG7V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PT_QhuSayP0gULozB2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.aFKviTFmdoOcvwdjZ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.aFKviTFmdoOcvwdj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z6A.kQguNnYmgfy5k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E0b6CLkS0GQKfrLzr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G5dVdmQaazeoIaLvZT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MhDOzJa0iW4tqprREi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FW7OzjSESFUhGi1E5M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EnCb2TOuYYk.8gSg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VEZPkxQ8u7HYP34jZ2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rganic">
  <a:themeElements>
    <a:clrScheme name="Organic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AB946B"/>
      </a:accent1>
      <a:accent2>
        <a:srgbClr val="C04F32"/>
      </a:accent2>
      <a:accent3>
        <a:srgbClr val="DD8C3C"/>
      </a:accent3>
      <a:accent4>
        <a:srgbClr val="8E684C"/>
      </a:accent4>
      <a:accent5>
        <a:srgbClr val="CBAF62"/>
      </a:accent5>
      <a:accent6>
        <a:srgbClr val="803348"/>
      </a:accent6>
      <a:hlink>
        <a:srgbClr val="86724D"/>
      </a:hlink>
      <a:folHlink>
        <a:srgbClr val="B99E84"/>
      </a:folHlink>
    </a:clrScheme>
    <a:fontScheme name="Organic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 panose="02020404030301010803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rganic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nic" id="{28CDC826-8792-45C0-861B-85EB3ADEDA33}" vid="{A2BEDC8B-F191-493B-BA33-0F4F800A89D3}"/>
    </a:ext>
  </a:extLst>
</a:theme>
</file>

<file path=ppt/theme/theme2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PDHL PowerPoin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332</TotalTime>
  <Words>416</Words>
  <Application>Microsoft Office PowerPoint</Application>
  <PresentationFormat>On-screen Show (4:3)</PresentationFormat>
  <Paragraphs>82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Garamond</vt:lpstr>
      <vt:lpstr>Symbol</vt:lpstr>
      <vt:lpstr>Wingdings</vt:lpstr>
      <vt:lpstr>Organic</vt:lpstr>
      <vt:lpstr>think-cell Slide</vt:lpstr>
      <vt:lpstr>Online payment/Credit Card Fraud Detection</vt:lpstr>
      <vt:lpstr>Fraud Victims and Losses Continue Three-Year Rise</vt:lpstr>
      <vt:lpstr>Why is it urgent to work on this now?</vt:lpstr>
      <vt:lpstr>Exploring the Data Variables</vt:lpstr>
      <vt:lpstr>Variation of Financial Fraud with Time</vt:lpstr>
      <vt:lpstr>Some Statistics of Fraudulent Transactions</vt:lpstr>
      <vt:lpstr>The Current Scenario:</vt:lpstr>
      <vt:lpstr>Steps in the process:</vt:lpstr>
      <vt:lpstr>Modeling:</vt:lpstr>
      <vt:lpstr>User Interfacing:</vt:lpstr>
      <vt:lpstr>Results:</vt:lpstr>
      <vt:lpstr>Driving Parameters</vt:lpstr>
      <vt:lpstr>Our suggestions to curb the fraud</vt:lpstr>
      <vt:lpstr>Way Forward:</vt:lpstr>
      <vt:lpstr>PowerPoint Presentation</vt:lpstr>
      <vt:lpstr>PowerPoint Presentation</vt:lpstr>
    </vt:vector>
  </TitlesOfParts>
  <Company>Deutsche Post 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lst, K., Z 03, BN</dc:creator>
  <cp:keywords>4 to 3</cp:keywords>
  <cp:lastModifiedBy>dee Jay</cp:lastModifiedBy>
  <cp:revision>114</cp:revision>
  <cp:lastPrinted>2014-01-24T08:37:53Z</cp:lastPrinted>
  <dcterms:created xsi:type="dcterms:W3CDTF">2014-06-05T13:13:55Z</dcterms:created>
  <dcterms:modified xsi:type="dcterms:W3CDTF">2018-11-08T13:21:11Z</dcterms:modified>
  <cp:category>presentation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1.0</vt:lpwstr>
  </property>
  <property fmtid="{D5CDD505-2E9C-101B-9397-08002B2CF9AE}" pid="4" name="Office">
    <vt:lpwstr>2007/2010</vt:lpwstr>
  </property>
</Properties>
</file>